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svg" ContentType="image/svg+xml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s/slide36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51.xml" ContentType="application/vnd.openxmlformats-officedocument.presentationml.tags+xml"/>
  <Override PartName="/ppt/tags/tag155.xml" ContentType="application/vnd.openxmlformats-officedocument.presentationml.tags+xml"/>
  <Override PartName="/ppt/tags/tag150.xml" ContentType="application/vnd.openxmlformats-officedocument.presentationml.tags+xml"/>
  <Override PartName="/ppt/tags/tag154.xml" ContentType="application/vnd.openxmlformats-officedocument.presentationml.tags+xml"/>
  <Override PartName="/ppt/tags/tag153.xml" ContentType="application/vnd.openxmlformats-officedocument.presentationml.tags+xml"/>
  <Override PartName="/ppt/tags/tag152.xml" ContentType="application/vnd.openxmlformats-officedocument.presentationml.tags+xml"/>
  <Override PartName="/ppt/notesSlides/notesSlide36.xml" ContentType="application/vnd.openxmlformats-officedocument.presentationml.notesSlid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71" r:id="rId3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slide" Target="/ppt/slides/slide36.xml" Id="rId39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40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36.xml.rels>&#65279;<?xml version="1.0" encoding="utf-8"?><Relationships xmlns="http://schemas.openxmlformats.org/package/2006/relationships"><Relationship Type="http://schemas.openxmlformats.org/officeDocument/2006/relationships/slide" Target="/ppt/slides/slide36.xml" Id="rId2" /><Relationship Type="http://schemas.openxmlformats.org/officeDocument/2006/relationships/notesMaster" Target="/ppt/notesMasters/notesMaster1.xml" Id="rId1" /></Relationship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654123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36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8" /><Relationship Type="http://schemas.openxmlformats.org/officeDocument/2006/relationships/image" Target="/ppt/media/image58.svg" Id="rId13" /><Relationship Type="http://schemas.openxmlformats.org/officeDocument/2006/relationships/image" Target="/ppt/media/image63.png" Id="rId18" /><Relationship Type="http://schemas.openxmlformats.org/officeDocument/2006/relationships/tags" Target="/ppt/tags/tag151.xml" Id="rId3" /><Relationship Type="http://schemas.openxmlformats.org/officeDocument/2006/relationships/image" Target="/ppt/media/image66.svg" Id="rId21" /><Relationship Type="http://schemas.openxmlformats.org/officeDocument/2006/relationships/tags" Target="/ppt/tags/tag155.xml" Id="rId7" /><Relationship Type="http://schemas.openxmlformats.org/officeDocument/2006/relationships/image" Target="/ppt/media/image57.png" Id="rId12" /><Relationship Type="http://schemas.openxmlformats.org/officeDocument/2006/relationships/image" Target="/ppt/media/image62.svg" Id="rId17" /><Relationship Type="http://schemas.openxmlformats.org/officeDocument/2006/relationships/tags" Target="/ppt/tags/tag150.xml" Id="rId2" /><Relationship Type="http://schemas.openxmlformats.org/officeDocument/2006/relationships/image" Target="/ppt/media/image61.png" Id="rId16" /><Relationship Type="http://schemas.openxmlformats.org/officeDocument/2006/relationships/image" Target="/ppt/media/image65.png" Id="rId20" /><Relationship Type="http://schemas.openxmlformats.org/officeDocument/2006/relationships/vmlDrawing" Target="/ppt/drawings/vmlDrawing40.vml" Id="rId1" /><Relationship Type="http://schemas.openxmlformats.org/officeDocument/2006/relationships/tags" Target="/ppt/tags/tag154.xml" Id="rId6" /><Relationship Type="http://schemas.openxmlformats.org/officeDocument/2006/relationships/image" Target="/ppt/media/image4.emf" Id="rId11" /><Relationship Type="http://schemas.openxmlformats.org/officeDocument/2006/relationships/tags" Target="/ppt/tags/tag153.xml" Id="rId5" /><Relationship Type="http://schemas.openxmlformats.org/officeDocument/2006/relationships/image" Target="/ppt/media/image60.svg" Id="rId15" /><Relationship Type="http://schemas.openxmlformats.org/officeDocument/2006/relationships/oleObject" Target="/ppt/embeddings/oleObject40.bin" Id="rId10" /><Relationship Type="http://schemas.openxmlformats.org/officeDocument/2006/relationships/image" Target="/ppt/media/image64.svg" Id="rId19" /><Relationship Type="http://schemas.openxmlformats.org/officeDocument/2006/relationships/tags" Target="/ppt/tags/tag152.xml" Id="rId4" /><Relationship Type="http://schemas.openxmlformats.org/officeDocument/2006/relationships/notesSlide" Target="/ppt/notesSlides/notesSlide36.xml" Id="rId9" /><Relationship Type="http://schemas.openxmlformats.org/officeDocument/2006/relationships/image" Target="/ppt/media/image59.png" Id="rId14" /></Relationships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6976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0" name="think-cell 幻灯片" r:id="rId10" imgW="349" imgH="350" progId="TCLayout.ActiveDocument.1">
                  <p:embed/>
                </p:oleObj>
              </mc:Choice>
              <mc:Fallback>
                <p:oleObj name="think-cell 幻灯片" r:id="rId10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Pyramid with five layers, cropped</a:t>
            </a:r>
          </a:p>
        </p:txBody>
      </p:sp>
      <p:sp>
        <p:nvSpPr>
          <p:cNvPr id="2" name="Freihandform: Form 57">
            <a:extLst>
              <a:ext uri="{FF2B5EF4-FFF2-40B4-BE49-F238E27FC236}">
                <a16:creationId xmlns:a16="http://schemas.microsoft.com/office/drawing/2014/main" id="{8A1C38DB-88C4-107E-098A-FA36094C701F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419100" y="5221398"/>
            <a:ext cx="3220732" cy="836502"/>
          </a:xfrm>
          <a:custGeom>
            <a:avLst/>
            <a:gdLst>
              <a:gd name="connsiteX0" fmla="*/ 428847 w 2297482"/>
              <a:gd name="connsiteY0" fmla="*/ 0 h 750483"/>
              <a:gd name="connsiteX1" fmla="*/ 2297482 w 2297482"/>
              <a:gd name="connsiteY1" fmla="*/ 0 h 750483"/>
              <a:gd name="connsiteX2" fmla="*/ 2297482 w 2297482"/>
              <a:gd name="connsiteY2" fmla="*/ 750483 h 750483"/>
              <a:gd name="connsiteX3" fmla="*/ 0 w 2297482"/>
              <a:gd name="connsiteY3" fmla="*/ 750483 h 750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7482" h="750483">
                <a:moveTo>
                  <a:pt x="428847" y="0"/>
                </a:moveTo>
                <a:lnTo>
                  <a:pt x="2297482" y="0"/>
                </a:lnTo>
                <a:lnTo>
                  <a:pt x="2297482" y="750483"/>
                </a:lnTo>
                <a:lnTo>
                  <a:pt x="0" y="750483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" name="Freihandform: Form 53">
            <a:extLst>
              <a:ext uri="{FF2B5EF4-FFF2-40B4-BE49-F238E27FC236}">
                <a16:creationId xmlns:a16="http://schemas.microsoft.com/office/drawing/2014/main" id="{EAB02A35-0D38-856A-432C-9FB0D3A3E50D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071151" y="4308138"/>
            <a:ext cx="2568681" cy="836502"/>
          </a:xfrm>
          <a:custGeom>
            <a:avLst/>
            <a:gdLst>
              <a:gd name="connsiteX0" fmla="*/ 428847 w 1832347"/>
              <a:gd name="connsiteY0" fmla="*/ 0 h 750483"/>
              <a:gd name="connsiteX1" fmla="*/ 1832347 w 1832347"/>
              <a:gd name="connsiteY1" fmla="*/ 0 h 750483"/>
              <a:gd name="connsiteX2" fmla="*/ 1832347 w 1832347"/>
              <a:gd name="connsiteY2" fmla="*/ 750483 h 750483"/>
              <a:gd name="connsiteX3" fmla="*/ 0 w 1832347"/>
              <a:gd name="connsiteY3" fmla="*/ 750483 h 750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32347" h="750483">
                <a:moveTo>
                  <a:pt x="428847" y="0"/>
                </a:moveTo>
                <a:lnTo>
                  <a:pt x="1832347" y="0"/>
                </a:lnTo>
                <a:lnTo>
                  <a:pt x="1832347" y="750483"/>
                </a:lnTo>
                <a:lnTo>
                  <a:pt x="0" y="75048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" name="Freihandform: Form 38">
            <a:extLst>
              <a:ext uri="{FF2B5EF4-FFF2-40B4-BE49-F238E27FC236}">
                <a16:creationId xmlns:a16="http://schemas.microsoft.com/office/drawing/2014/main" id="{FC0E7413-13C4-A1CB-8749-BE3ECD986B38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727824" y="3393044"/>
            <a:ext cx="1912008" cy="838340"/>
          </a:xfrm>
          <a:custGeom>
            <a:avLst/>
            <a:gdLst>
              <a:gd name="connsiteX0" fmla="*/ 428847 w 1363915"/>
              <a:gd name="connsiteY0" fmla="*/ 0 h 752132"/>
              <a:gd name="connsiteX1" fmla="*/ 1363915 w 1363915"/>
              <a:gd name="connsiteY1" fmla="*/ 0 h 752132"/>
              <a:gd name="connsiteX2" fmla="*/ 1363915 w 1363915"/>
              <a:gd name="connsiteY2" fmla="*/ 752132 h 752132"/>
              <a:gd name="connsiteX3" fmla="*/ 0 w 1363915"/>
              <a:gd name="connsiteY3" fmla="*/ 752132 h 752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3915" h="752132">
                <a:moveTo>
                  <a:pt x="428847" y="0"/>
                </a:moveTo>
                <a:lnTo>
                  <a:pt x="1363915" y="0"/>
                </a:lnTo>
                <a:lnTo>
                  <a:pt x="1363915" y="752132"/>
                </a:lnTo>
                <a:lnTo>
                  <a:pt x="0" y="75213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6" name="Freihandform: Form 36">
            <a:extLst>
              <a:ext uri="{FF2B5EF4-FFF2-40B4-BE49-F238E27FC236}">
                <a16:creationId xmlns:a16="http://schemas.microsoft.com/office/drawing/2014/main" id="{6E3407EA-7F7A-90D2-F8A6-D61F7027982F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386809" y="2479787"/>
            <a:ext cx="1253022" cy="836502"/>
          </a:xfrm>
          <a:custGeom>
            <a:avLst/>
            <a:gdLst>
              <a:gd name="connsiteX0" fmla="*/ 428847 w 893833"/>
              <a:gd name="connsiteY0" fmla="*/ 0 h 750483"/>
              <a:gd name="connsiteX1" fmla="*/ 893833 w 893833"/>
              <a:gd name="connsiteY1" fmla="*/ 0 h 750483"/>
              <a:gd name="connsiteX2" fmla="*/ 893833 w 893833"/>
              <a:gd name="connsiteY2" fmla="*/ 750483 h 750483"/>
              <a:gd name="connsiteX3" fmla="*/ 0 w 893833"/>
              <a:gd name="connsiteY3" fmla="*/ 750483 h 750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3833" h="750483">
                <a:moveTo>
                  <a:pt x="428847" y="0"/>
                </a:moveTo>
                <a:lnTo>
                  <a:pt x="893833" y="0"/>
                </a:lnTo>
                <a:lnTo>
                  <a:pt x="893833" y="750483"/>
                </a:lnTo>
                <a:lnTo>
                  <a:pt x="0" y="75048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7" name="Freihandform: Form 34">
            <a:extLst>
              <a:ext uri="{FF2B5EF4-FFF2-40B4-BE49-F238E27FC236}">
                <a16:creationId xmlns:a16="http://schemas.microsoft.com/office/drawing/2014/main" id="{362BA81C-C093-22EA-CD35-FB3D9D40C1D0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3038857" y="1566817"/>
            <a:ext cx="600974" cy="836215"/>
          </a:xfrm>
          <a:custGeom>
            <a:avLst/>
            <a:gdLst>
              <a:gd name="connsiteX0" fmla="*/ 428700 w 428700"/>
              <a:gd name="connsiteY0" fmla="*/ 0 h 750226"/>
              <a:gd name="connsiteX1" fmla="*/ 428700 w 428700"/>
              <a:gd name="connsiteY1" fmla="*/ 750226 h 750226"/>
              <a:gd name="connsiteX2" fmla="*/ 0 w 428700"/>
              <a:gd name="connsiteY2" fmla="*/ 750226 h 750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8700" h="750226">
                <a:moveTo>
                  <a:pt x="428700" y="0"/>
                </a:moveTo>
                <a:lnTo>
                  <a:pt x="428700" y="750226"/>
                </a:lnTo>
                <a:lnTo>
                  <a:pt x="0" y="75022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0460DD8F-1C00-BA29-6773-7F50D11AACB1}"/>
              </a:ext>
            </a:extLst>
          </p:cNvPr>
          <p:cNvSpPr txBox="1">
            <a:spLocks/>
          </p:cNvSpPr>
          <p:nvPr/>
        </p:nvSpPr>
        <p:spPr>
          <a:xfrm>
            <a:off x="3940181" y="1646371"/>
            <a:ext cx="6387064" cy="67710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600" b="1">
                <a:solidFill>
                  <a:schemeClr val="accent1"/>
                </a:solidFill>
                <a:latin typeface="+mn-lt"/>
                <a:cs typeface="+mn-cs"/>
                <a:sym typeface="Futura"/>
              </a:rPr>
              <a:t>Lorem ipsum</a:t>
            </a:r>
          </a:p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consetetu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sadipsc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elit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, sed diam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nonumy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eirmo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tempo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invidun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u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labore et dolore magna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liquya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era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, sed diam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voluptua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</a:p>
        </p:txBody>
      </p:sp>
      <p:pic>
        <p:nvPicPr>
          <p:cNvPr id="11" name="Grafik 50">
            <a:extLst>
              <a:ext uri="{FF2B5EF4-FFF2-40B4-BE49-F238E27FC236}">
                <a16:creationId xmlns:a16="http://schemas.microsoft.com/office/drawing/2014/main" id="{DD997083-3C38-49CB-1048-0FC5015DDA2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276156" y="5365956"/>
            <a:ext cx="547385" cy="547385"/>
          </a:xfrm>
          <a:prstGeom prst="rect">
            <a:avLst/>
          </a:prstGeom>
        </p:spPr>
      </p:pic>
      <p:pic>
        <p:nvPicPr>
          <p:cNvPr id="12" name="Grafik 52">
            <a:extLst>
              <a:ext uri="{FF2B5EF4-FFF2-40B4-BE49-F238E27FC236}">
                <a16:creationId xmlns:a16="http://schemas.microsoft.com/office/drawing/2014/main" id="{8D0AA31E-5E5A-A39A-126C-0E39A8A44D3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276156" y="4452276"/>
            <a:ext cx="547385" cy="547385"/>
          </a:xfrm>
          <a:prstGeom prst="rect">
            <a:avLst/>
          </a:prstGeom>
        </p:spPr>
      </p:pic>
      <p:pic>
        <p:nvPicPr>
          <p:cNvPr id="13" name="Grafik 54">
            <a:extLst>
              <a:ext uri="{FF2B5EF4-FFF2-40B4-BE49-F238E27FC236}">
                <a16:creationId xmlns:a16="http://schemas.microsoft.com/office/drawing/2014/main" id="{52A13A37-1809-D27C-0CAC-8FFDF3AD0D9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1276156" y="3538595"/>
            <a:ext cx="547385" cy="547385"/>
          </a:xfrm>
          <a:prstGeom prst="rect">
            <a:avLst/>
          </a:prstGeom>
        </p:spPr>
      </p:pic>
      <p:pic>
        <p:nvPicPr>
          <p:cNvPr id="14" name="Grafik 56">
            <a:extLst>
              <a:ext uri="{FF2B5EF4-FFF2-40B4-BE49-F238E27FC236}">
                <a16:creationId xmlns:a16="http://schemas.microsoft.com/office/drawing/2014/main" id="{198B0C2D-1AA6-C2AF-3FE7-DD37010B118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1276156" y="2624913"/>
            <a:ext cx="547385" cy="547385"/>
          </a:xfrm>
          <a:prstGeom prst="rect">
            <a:avLst/>
          </a:prstGeom>
        </p:spPr>
      </p:pic>
      <p:pic>
        <p:nvPicPr>
          <p:cNvPr id="15" name="Grafik 58">
            <a:extLst>
              <a:ext uri="{FF2B5EF4-FFF2-40B4-BE49-F238E27FC236}">
                <a16:creationId xmlns:a16="http://schemas.microsoft.com/office/drawing/2014/main" id="{3B59C4F1-89B9-7B86-2323-7DA57F09BE7A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1276156" y="1711232"/>
            <a:ext cx="547385" cy="547385"/>
          </a:xfrm>
          <a:prstGeom prst="rect">
            <a:avLst/>
          </a:prstGeom>
        </p:spPr>
      </p:pic>
      <p:cxnSp>
        <p:nvCxnSpPr>
          <p:cNvPr id="16" name="Gerader Verbinder 6">
            <a:extLst>
              <a:ext uri="{FF2B5EF4-FFF2-40B4-BE49-F238E27FC236}">
                <a16:creationId xmlns:a16="http://schemas.microsoft.com/office/drawing/2014/main" id="{16B8808E-4A99-43FD-EA3D-7E6D5503A4A9}"/>
              </a:ext>
            </a:extLst>
          </p:cNvPr>
          <p:cNvCxnSpPr>
            <a:cxnSpLocks/>
          </p:cNvCxnSpPr>
          <p:nvPr/>
        </p:nvCxnSpPr>
        <p:spPr>
          <a:xfrm>
            <a:off x="3738490" y="2441410"/>
            <a:ext cx="808203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46">
            <a:extLst>
              <a:ext uri="{FF2B5EF4-FFF2-40B4-BE49-F238E27FC236}">
                <a16:creationId xmlns:a16="http://schemas.microsoft.com/office/drawing/2014/main" id="{087E27E7-8F05-8FC5-60E3-D8B35DEF704C}"/>
              </a:ext>
            </a:extLst>
          </p:cNvPr>
          <p:cNvCxnSpPr>
            <a:cxnSpLocks/>
          </p:cNvCxnSpPr>
          <p:nvPr/>
        </p:nvCxnSpPr>
        <p:spPr>
          <a:xfrm>
            <a:off x="3738490" y="3354667"/>
            <a:ext cx="808203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47">
            <a:extLst>
              <a:ext uri="{FF2B5EF4-FFF2-40B4-BE49-F238E27FC236}">
                <a16:creationId xmlns:a16="http://schemas.microsoft.com/office/drawing/2014/main" id="{CE47E071-4059-9967-7437-0F2C84E00946}"/>
              </a:ext>
            </a:extLst>
          </p:cNvPr>
          <p:cNvCxnSpPr>
            <a:cxnSpLocks/>
          </p:cNvCxnSpPr>
          <p:nvPr/>
        </p:nvCxnSpPr>
        <p:spPr>
          <a:xfrm>
            <a:off x="3738490" y="4269761"/>
            <a:ext cx="808203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49">
            <a:extLst>
              <a:ext uri="{FF2B5EF4-FFF2-40B4-BE49-F238E27FC236}">
                <a16:creationId xmlns:a16="http://schemas.microsoft.com/office/drawing/2014/main" id="{8856E04D-056D-0DB2-5710-31AD54FA7C53}"/>
              </a:ext>
            </a:extLst>
          </p:cNvPr>
          <p:cNvCxnSpPr>
            <a:cxnSpLocks/>
          </p:cNvCxnSpPr>
          <p:nvPr/>
        </p:nvCxnSpPr>
        <p:spPr>
          <a:xfrm>
            <a:off x="3738490" y="5183018"/>
            <a:ext cx="808203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C14FFBF0-6E91-4FE4-C187-34C5C7CFF157}"/>
              </a:ext>
            </a:extLst>
          </p:cNvPr>
          <p:cNvSpPr txBox="1">
            <a:spLocks/>
          </p:cNvSpPr>
          <p:nvPr/>
        </p:nvSpPr>
        <p:spPr>
          <a:xfrm>
            <a:off x="3940181" y="5301096"/>
            <a:ext cx="6387064" cy="67710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600" b="1">
                <a:solidFill>
                  <a:schemeClr val="accent1"/>
                </a:solidFill>
                <a:latin typeface="+mn-lt"/>
                <a:cs typeface="+mn-cs"/>
                <a:sym typeface="Futura"/>
              </a:rPr>
              <a:t>Lorem ipsum</a:t>
            </a:r>
          </a:p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consetetu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sadipsc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elit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, sed diam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nonumy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eirmo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tempo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invidun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u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labore et dolore magna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liquya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era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, sed diam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voluptua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8CB36DBB-7D52-66AA-C18A-E3B182F168C4}"/>
              </a:ext>
            </a:extLst>
          </p:cNvPr>
          <p:cNvSpPr txBox="1">
            <a:spLocks/>
          </p:cNvSpPr>
          <p:nvPr/>
        </p:nvSpPr>
        <p:spPr>
          <a:xfrm>
            <a:off x="3940181" y="4387415"/>
            <a:ext cx="6387064" cy="67710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600" b="1">
                <a:solidFill>
                  <a:schemeClr val="accent1"/>
                </a:solidFill>
                <a:latin typeface="+mn-lt"/>
                <a:cs typeface="+mn-cs"/>
                <a:sym typeface="Futura"/>
              </a:rPr>
              <a:t>Lorem ipsum</a:t>
            </a:r>
          </a:p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consetetu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sadipsc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elit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, sed diam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nonumy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eirmo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tempo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invidun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u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labore et dolore magna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liquya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era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, sed diam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voluptua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F0C3B21D-5D75-7F13-C31B-1FEF51F2E13F}"/>
              </a:ext>
            </a:extLst>
          </p:cNvPr>
          <p:cNvSpPr txBox="1">
            <a:spLocks/>
          </p:cNvSpPr>
          <p:nvPr/>
        </p:nvSpPr>
        <p:spPr>
          <a:xfrm>
            <a:off x="3940181" y="3473734"/>
            <a:ext cx="6387064" cy="67710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600" b="1">
                <a:solidFill>
                  <a:schemeClr val="accent1"/>
                </a:solidFill>
                <a:latin typeface="+mn-lt"/>
                <a:cs typeface="+mn-cs"/>
                <a:sym typeface="Futura"/>
              </a:rPr>
              <a:t>Lorem ipsum</a:t>
            </a:r>
          </a:p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consetetu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sadipsc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elit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, sed diam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nonumy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eirmo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tempo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invidun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u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labore et dolore magna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liquya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era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, sed diam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voluptua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B623D87D-4696-894E-30D0-2C36A06D01DA}"/>
              </a:ext>
            </a:extLst>
          </p:cNvPr>
          <p:cNvSpPr txBox="1">
            <a:spLocks/>
          </p:cNvSpPr>
          <p:nvPr/>
        </p:nvSpPr>
        <p:spPr>
          <a:xfrm>
            <a:off x="3940181" y="2560053"/>
            <a:ext cx="6387064" cy="67710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600" b="1">
                <a:solidFill>
                  <a:schemeClr val="accent1"/>
                </a:solidFill>
                <a:latin typeface="+mn-lt"/>
                <a:cs typeface="+mn-cs"/>
                <a:sym typeface="Futura"/>
              </a:rPr>
              <a:t>Lorem ipsum</a:t>
            </a:r>
          </a:p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consetetu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sadipsc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elit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, sed diam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nonumy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eirmo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tempo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invidun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u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labore et dolore magna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liquya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era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, sed diam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voluptua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1B9D71E1-AC51-136B-557D-87881A6486EB}"/>
              </a:ext>
            </a:extLst>
          </p:cNvPr>
          <p:cNvSpPr txBox="1">
            <a:spLocks/>
          </p:cNvSpPr>
          <p:nvPr/>
        </p:nvSpPr>
        <p:spPr>
          <a:xfrm>
            <a:off x="3160308" y="2111502"/>
            <a:ext cx="419555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600" b="1">
                <a:solidFill>
                  <a:schemeClr val="bg1"/>
                </a:solidFill>
                <a:latin typeface="+mn-lt"/>
                <a:cs typeface="+mn-cs"/>
                <a:sym typeface="Futura"/>
              </a:rPr>
              <a:t>01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Open Sans Light" panose="020B0306030504020204" pitchFamily="34" charset="0"/>
              <a:cs typeface="+mn-cs"/>
            </a:endParaRP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972094FD-079E-732B-1B48-F737F808809D}"/>
              </a:ext>
            </a:extLst>
          </p:cNvPr>
          <p:cNvSpPr txBox="1">
            <a:spLocks/>
          </p:cNvSpPr>
          <p:nvPr/>
        </p:nvSpPr>
        <p:spPr>
          <a:xfrm>
            <a:off x="3160308" y="5766226"/>
            <a:ext cx="419555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600" b="1">
                <a:solidFill>
                  <a:schemeClr val="bg1"/>
                </a:solidFill>
                <a:latin typeface="+mn-lt"/>
                <a:cs typeface="+mn-cs"/>
                <a:sym typeface="Futura"/>
              </a:rPr>
              <a:t>05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Open Sans Light" panose="020B0306030504020204" pitchFamily="34" charset="0"/>
              <a:cs typeface="+mn-cs"/>
            </a:endParaRP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66BF4905-7EBC-B35C-D6BB-EFA4456EC8B9}"/>
              </a:ext>
            </a:extLst>
          </p:cNvPr>
          <p:cNvSpPr txBox="1">
            <a:spLocks/>
          </p:cNvSpPr>
          <p:nvPr/>
        </p:nvSpPr>
        <p:spPr>
          <a:xfrm>
            <a:off x="3160308" y="4852545"/>
            <a:ext cx="419555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600" b="1">
                <a:solidFill>
                  <a:schemeClr val="bg1"/>
                </a:solidFill>
                <a:latin typeface="+mn-lt"/>
                <a:cs typeface="+mn-cs"/>
                <a:sym typeface="Futura"/>
              </a:rPr>
              <a:t>04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Open Sans Light" panose="020B0306030504020204" pitchFamily="34" charset="0"/>
              <a:cs typeface="+mn-cs"/>
            </a:endParaRP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0B2CB35B-3E1B-A790-753E-8EFE021D2A01}"/>
              </a:ext>
            </a:extLst>
          </p:cNvPr>
          <p:cNvSpPr txBox="1">
            <a:spLocks/>
          </p:cNvSpPr>
          <p:nvPr/>
        </p:nvSpPr>
        <p:spPr>
          <a:xfrm>
            <a:off x="3160308" y="3938864"/>
            <a:ext cx="419555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600" b="1">
                <a:solidFill>
                  <a:schemeClr val="bg1"/>
                </a:solidFill>
                <a:latin typeface="+mn-lt"/>
                <a:cs typeface="+mn-cs"/>
                <a:sym typeface="Futura"/>
              </a:rPr>
              <a:t>03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Open Sans Light" panose="020B0306030504020204" pitchFamily="34" charset="0"/>
              <a:cs typeface="+mn-cs"/>
            </a:endParaRP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54117504-8554-BF0B-4620-A20F07D97C70}"/>
              </a:ext>
            </a:extLst>
          </p:cNvPr>
          <p:cNvSpPr txBox="1">
            <a:spLocks/>
          </p:cNvSpPr>
          <p:nvPr/>
        </p:nvSpPr>
        <p:spPr>
          <a:xfrm>
            <a:off x="3160308" y="3025183"/>
            <a:ext cx="419555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600" b="1">
                <a:solidFill>
                  <a:schemeClr val="bg1"/>
                </a:solidFill>
                <a:latin typeface="+mn-lt"/>
                <a:cs typeface="+mn-cs"/>
                <a:sym typeface="Futura"/>
              </a:rPr>
              <a:t>02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Open Sans Light" panose="020B0306030504020204" pitchFamily="34" charset="0"/>
              <a:cs typeface="+mn-cs"/>
            </a:endParaRP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6B222D3A-F9A1-F436-409A-1DAEA87DA026}"/>
              </a:ext>
            </a:extLst>
          </p:cNvPr>
          <p:cNvSpPr txBox="1">
            <a:spLocks/>
          </p:cNvSpPr>
          <p:nvPr/>
        </p:nvSpPr>
        <p:spPr>
          <a:xfrm>
            <a:off x="419100" y="1557338"/>
            <a:ext cx="2227826" cy="92333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Lorem ipsum dolor sit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consetetur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sadipscing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elitr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D513583F-F304-2FB7-E9D4-589F74B0613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1720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</a:t>
            </a:r>
            <a:r>
              <a:rPr lang="en-US" sz="1000">
                <a:solidFill>
                  <a:schemeClr val="tx2"/>
                </a:solidFill>
              </a:rPr>
              <a:t> pyramids, layer, icon, icons</a:t>
            </a:r>
          </a:p>
        </p:txBody>
      </p:sp>
    </p:spTree>
    <p:extLst>
      <p:ext uri="{BB962C8B-B14F-4D97-AF65-F5344CB8AC3E}">
        <p14:creationId xmlns:p14="http://schemas.microsoft.com/office/powerpoint/2010/main" val="1072575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